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32"/>
  </p:notesMasterIdLst>
  <p:sldIdLst>
    <p:sldId id="275" r:id="rId6"/>
    <p:sldId id="285" r:id="rId7"/>
    <p:sldId id="289" r:id="rId8"/>
    <p:sldId id="288" r:id="rId9"/>
    <p:sldId id="337" r:id="rId10"/>
    <p:sldId id="463" r:id="rId11"/>
    <p:sldId id="464" r:id="rId12"/>
    <p:sldId id="465" r:id="rId13"/>
    <p:sldId id="466" r:id="rId14"/>
    <p:sldId id="467" r:id="rId15"/>
    <p:sldId id="468" r:id="rId16"/>
    <p:sldId id="469" r:id="rId17"/>
    <p:sldId id="470" r:id="rId18"/>
    <p:sldId id="471" r:id="rId19"/>
    <p:sldId id="472" r:id="rId20"/>
    <p:sldId id="473" r:id="rId21"/>
    <p:sldId id="474" r:id="rId22"/>
    <p:sldId id="475" r:id="rId23"/>
    <p:sldId id="477" r:id="rId24"/>
    <p:sldId id="478" r:id="rId25"/>
    <p:sldId id="480" r:id="rId26"/>
    <p:sldId id="479" r:id="rId27"/>
    <p:sldId id="481" r:id="rId28"/>
    <p:sldId id="482" r:id="rId29"/>
    <p:sldId id="484" r:id="rId30"/>
    <p:sldId id="311" r:id="rId31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23" d="100"/>
          <a:sy n="23" d="100"/>
        </p:scale>
        <p:origin x="624" y="24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3DC4B4-65ED-43BD-8EBC-12AA9A93E67A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UA"/>
        </a:p>
      </dgm:t>
    </dgm:pt>
    <dgm:pt modelId="{9B5C163B-CBC0-4924-8D57-DA43B2CD7478}">
      <dgm:prSet phldrT="[Текст]"/>
      <dgm:spPr/>
      <dgm:t>
        <a:bodyPr/>
        <a:lstStyle/>
        <a:p>
          <a:pPr algn="ctr"/>
          <a:r>
            <a:rPr lang="uk-UA" i="1" dirty="0"/>
            <a:t>Леся Федченко, </a:t>
          </a:r>
          <a:r>
            <a:rPr lang="uk-UA" b="0" i="1" dirty="0"/>
            <a:t>консультантка Програми </a:t>
          </a:r>
          <a:r>
            <a:rPr lang="en-US" b="0" i="1" dirty="0"/>
            <a:t>DOBRE</a:t>
          </a:r>
          <a:endParaRPr lang="ru-UA" i="1" dirty="0"/>
        </a:p>
      </dgm:t>
    </dgm:pt>
    <dgm:pt modelId="{3C11B514-3120-4177-B1E6-C9463C0910B4}" type="parTrans" cxnId="{5FF262CD-A5F5-4254-AB9A-92D978AB6685}">
      <dgm:prSet/>
      <dgm:spPr/>
      <dgm:t>
        <a:bodyPr/>
        <a:lstStyle/>
        <a:p>
          <a:endParaRPr lang="ru-UA"/>
        </a:p>
      </dgm:t>
    </dgm:pt>
    <dgm:pt modelId="{CA3C8844-992C-4A95-9CD8-410ED9E9E439}" type="sibTrans" cxnId="{5FF262CD-A5F5-4254-AB9A-92D978AB6685}">
      <dgm:prSet/>
      <dgm:spPr/>
      <dgm:t>
        <a:bodyPr/>
        <a:lstStyle/>
        <a:p>
          <a:endParaRPr lang="ru-UA"/>
        </a:p>
      </dgm:t>
    </dgm:pt>
    <dgm:pt modelId="{ED721A25-2A4A-410A-9AE1-578F8A30714A}" type="pres">
      <dgm:prSet presAssocID="{B93DC4B4-65ED-43BD-8EBC-12AA9A93E67A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C9C4CBB-0E1C-42EC-A584-020C3209EF08}" type="pres">
      <dgm:prSet presAssocID="{9B5C163B-CBC0-4924-8D57-DA43B2CD7478}" presName="thickLine" presStyleLbl="alignNode1" presStyleIdx="0" presStyleCnt="1"/>
      <dgm:spPr/>
    </dgm:pt>
    <dgm:pt modelId="{E627B3DC-B33C-4BEF-8C50-C6B2E40ABF85}" type="pres">
      <dgm:prSet presAssocID="{9B5C163B-CBC0-4924-8D57-DA43B2CD7478}" presName="horz1" presStyleCnt="0"/>
      <dgm:spPr/>
    </dgm:pt>
    <dgm:pt modelId="{CC5D6AC5-1B98-4597-8AA5-F35B77451A38}" type="pres">
      <dgm:prSet presAssocID="{9B5C163B-CBC0-4924-8D57-DA43B2CD7478}" presName="tx1" presStyleLbl="revTx" presStyleIdx="0" presStyleCnt="1" custScaleY="36790"/>
      <dgm:spPr/>
      <dgm:t>
        <a:bodyPr/>
        <a:lstStyle/>
        <a:p>
          <a:endParaRPr lang="en-US"/>
        </a:p>
      </dgm:t>
    </dgm:pt>
    <dgm:pt modelId="{241E1864-C89B-4CA2-8E76-FE841FB9098E}" type="pres">
      <dgm:prSet presAssocID="{9B5C163B-CBC0-4924-8D57-DA43B2CD7478}" presName="vert1" presStyleCnt="0"/>
      <dgm:spPr/>
    </dgm:pt>
  </dgm:ptLst>
  <dgm:cxnLst>
    <dgm:cxn modelId="{D6EA7B25-10DE-482B-8865-F687BC901C9A}" type="presOf" srcId="{B93DC4B4-65ED-43BD-8EBC-12AA9A93E67A}" destId="{ED721A25-2A4A-410A-9AE1-578F8A30714A}" srcOrd="0" destOrd="0" presId="urn:microsoft.com/office/officeart/2008/layout/LinedList"/>
    <dgm:cxn modelId="{5FF262CD-A5F5-4254-AB9A-92D978AB6685}" srcId="{B93DC4B4-65ED-43BD-8EBC-12AA9A93E67A}" destId="{9B5C163B-CBC0-4924-8D57-DA43B2CD7478}" srcOrd="0" destOrd="0" parTransId="{3C11B514-3120-4177-B1E6-C9463C0910B4}" sibTransId="{CA3C8844-992C-4A95-9CD8-410ED9E9E439}"/>
    <dgm:cxn modelId="{6103CD3F-223B-4A6D-87C5-EED22B36C74B}" type="presOf" srcId="{9B5C163B-CBC0-4924-8D57-DA43B2CD7478}" destId="{CC5D6AC5-1B98-4597-8AA5-F35B77451A38}" srcOrd="0" destOrd="0" presId="urn:microsoft.com/office/officeart/2008/layout/LinedList"/>
    <dgm:cxn modelId="{126000C2-B804-4BFB-BF5F-9129270D2F03}" type="presParOf" srcId="{ED721A25-2A4A-410A-9AE1-578F8A30714A}" destId="{9C9C4CBB-0E1C-42EC-A584-020C3209EF08}" srcOrd="0" destOrd="0" presId="urn:microsoft.com/office/officeart/2008/layout/LinedList"/>
    <dgm:cxn modelId="{FCF33E69-3BD9-4878-8C8B-CD50249F196B}" type="presParOf" srcId="{ED721A25-2A4A-410A-9AE1-578F8A30714A}" destId="{E627B3DC-B33C-4BEF-8C50-C6B2E40ABF85}" srcOrd="1" destOrd="0" presId="urn:microsoft.com/office/officeart/2008/layout/LinedList"/>
    <dgm:cxn modelId="{561E5F4F-9C10-4EE2-8E5A-110858A6F976}" type="presParOf" srcId="{E627B3DC-B33C-4BEF-8C50-C6B2E40ABF85}" destId="{CC5D6AC5-1B98-4597-8AA5-F35B77451A38}" srcOrd="0" destOrd="0" presId="urn:microsoft.com/office/officeart/2008/layout/LinedList"/>
    <dgm:cxn modelId="{AEA328AD-CFE4-45A4-9400-D030DAE1BD9E}" type="presParOf" srcId="{E627B3DC-B33C-4BEF-8C50-C6B2E40ABF85}" destId="{241E1864-C89B-4CA2-8E76-FE841FB9098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9C4CBB-0E1C-42EC-A584-020C3209EF08}">
      <dsp:nvSpPr>
        <dsp:cNvPr id="0" name=""/>
        <dsp:cNvSpPr/>
      </dsp:nvSpPr>
      <dsp:spPr>
        <a:xfrm>
          <a:off x="0" y="670138"/>
          <a:ext cx="162560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5D6AC5-1B98-4597-8AA5-F35B77451A38}">
      <dsp:nvSpPr>
        <dsp:cNvPr id="0" name=""/>
        <dsp:cNvSpPr/>
      </dsp:nvSpPr>
      <dsp:spPr>
        <a:xfrm>
          <a:off x="0" y="670138"/>
          <a:ext cx="16256000" cy="780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i="1" kern="1200" dirty="0"/>
            <a:t>Леся Федченко, </a:t>
          </a:r>
          <a:r>
            <a:rPr lang="uk-UA" sz="3600" b="0" i="1" kern="1200" dirty="0"/>
            <a:t>консультантка Програми </a:t>
          </a:r>
          <a:r>
            <a:rPr lang="en-US" sz="3600" b="0" i="1" kern="1200" dirty="0"/>
            <a:t>DOBRE</a:t>
          </a:r>
          <a:endParaRPr lang="ru-UA" sz="3600" i="1" kern="1200" dirty="0"/>
        </a:p>
      </dsp:txBody>
      <dsp:txXfrm>
        <a:off x="0" y="670138"/>
        <a:ext cx="16256000" cy="7800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62197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#›</a:t>
            </a:fld>
            <a:r>
              <a:rPr lang="uk-UA"/>
              <a:t> ‒ </a:t>
            </a:r>
            <a:endParaRPr lang="uk-UA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416402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2.png"/><Relationship Id="rId7" Type="http://schemas.openxmlformats.org/officeDocument/2006/relationships/diagramData" Target="../diagrams/data1.xml"/><Relationship Id="rId12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microsoft.com/office/2007/relationships/diagramDrawing" Target="../diagrams/drawing1.xml"/><Relationship Id="rId5" Type="http://schemas.openxmlformats.org/officeDocument/2006/relationships/image" Target="../media/image4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3.png"/><Relationship Id="rId9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png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zakon.rada.gov.ua/laws/show/436-15#Text" TargetMode="External"/><Relationship Id="rId3" Type="http://schemas.openxmlformats.org/officeDocument/2006/relationships/image" Target="../media/image7.png"/><Relationship Id="rId7" Type="http://schemas.openxmlformats.org/officeDocument/2006/relationships/hyperlink" Target="https://zakon.rada.gov.ua/laws/show/2352-20#Text" TargetMode="Externa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zakon.rada.gov.ua/laws/show/2136-20#Text" TargetMode="External"/><Relationship Id="rId5" Type="http://schemas.openxmlformats.org/officeDocument/2006/relationships/hyperlink" Target="https://zakon.rada.gov.ua/laws/show/389-19#Text" TargetMode="External"/><Relationship Id="rId4" Type="http://schemas.openxmlformats.org/officeDocument/2006/relationships/hyperlink" Target="https://zakon.rada.gov.ua/laws/show/322-08#Text" TargetMode="Externa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73866" y="4388568"/>
            <a:ext cx="20641733" cy="412839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uk-UA" sz="4400" dirty="0" smtClean="0">
                <a:solidFill>
                  <a:srgbClr val="000000"/>
                </a:solidFill>
                <a:effectLst/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обливості реалізації трудових відносин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uk-UA" sz="4400" dirty="0" smtClean="0">
                <a:solidFill>
                  <a:srgbClr val="000000"/>
                </a:solidFill>
                <a:effectLst/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комунальних підприємствах, установах, організаціях, засновниками яких є ОМС, в умовах воєнного стану </a:t>
            </a:r>
            <a:endParaRPr lang="uk-UA" sz="4400" b="1" dirty="0">
              <a:solidFill>
                <a:srgbClr val="00206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435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99564" y="11249891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>
                    <a:lumMod val="50000"/>
                  </a:schemeClr>
                </a:solidFill>
              </a:rPr>
              <a:t>КИЇВ, 202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465428"/>
            <a:ext cx="7240504" cy="28020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0549" y="465428"/>
            <a:ext cx="5885426" cy="2942714"/>
          </a:xfrm>
          <a:prstGeom prst="rect">
            <a:avLst/>
          </a:prstGeom>
        </p:spPr>
      </p:pic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583CE95A-F8FD-24A2-CDE4-8C0EFD0961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2487085"/>
              </p:ext>
            </p:extLst>
          </p:nvPr>
        </p:nvGraphicFramePr>
        <p:xfrm>
          <a:off x="4587438" y="9377433"/>
          <a:ext cx="16256000" cy="21203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1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1508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3075709"/>
            <a:ext cx="20786366" cy="1127824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ановлення та облік часу роботи і відпочинку</a:t>
            </a:r>
          </a:p>
        </p:txBody>
      </p:sp>
      <p:graphicFrame>
        <p:nvGraphicFramePr>
          <p:cNvPr id="5" name="Таблиця 5">
            <a:extLst>
              <a:ext uri="{FF2B5EF4-FFF2-40B4-BE49-F238E27FC236}">
                <a16:creationId xmlns:a16="http://schemas.microsoft.com/office/drawing/2014/main" id="{29E7A9A7-A32F-A003-6D6B-4D603FEE3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320639"/>
              </p:ext>
            </p:extLst>
          </p:nvPr>
        </p:nvGraphicFramePr>
        <p:xfrm>
          <a:off x="1536192" y="4648641"/>
          <a:ext cx="20786367" cy="75303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49961">
                  <a:extLst>
                    <a:ext uri="{9D8B030D-6E8A-4147-A177-3AD203B41FA5}">
                      <a16:colId xmlns:a16="http://schemas.microsoft.com/office/drawing/2014/main" val="981503571"/>
                    </a:ext>
                  </a:extLst>
                </a:gridCol>
                <a:gridCol w="5885411">
                  <a:extLst>
                    <a:ext uri="{9D8B030D-6E8A-4147-A177-3AD203B41FA5}">
                      <a16:colId xmlns:a16="http://schemas.microsoft.com/office/drawing/2014/main" val="1277557678"/>
                    </a:ext>
                  </a:extLst>
                </a:gridCol>
                <a:gridCol w="10850995">
                  <a:extLst>
                    <a:ext uri="{9D8B030D-6E8A-4147-A177-3AD203B41FA5}">
                      <a16:colId xmlns:a16="http://schemas.microsoft.com/office/drawing/2014/main" val="2742474546"/>
                    </a:ext>
                  </a:extLst>
                </a:gridCol>
              </a:tblGrid>
              <a:tr h="538501">
                <a:tc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2800" dirty="0">
                          <a:solidFill>
                            <a:schemeClr val="tx1"/>
                          </a:solidFill>
                        </a:rPr>
                        <a:t>до 19.07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2800" b="1" dirty="0">
                          <a:solidFill>
                            <a:schemeClr val="tx1"/>
                          </a:solidFill>
                        </a:rPr>
                        <a:t>після 19.07.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6375405"/>
                  </a:ext>
                </a:extLst>
              </a:tr>
              <a:tr h="161064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ормальна тривалість РЧ працівників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1 ст. 3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 60 годин/тиждень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може бути збільшена 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 60 годин/тиждень для працівників, зайнятих на об’єктах КІ (в оборонній сфері, сфері забезпечення життєдіяльності населення тощо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57567840"/>
                  </a:ext>
                </a:extLst>
              </a:tr>
              <a:tr h="161064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Тривалість РЧ працівників, яким за законом встановлюється скорочена тривалість робочого часу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2 ст. 6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 50 годин/тиждень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застосовується </a:t>
                      </a: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лише для працівників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, зайнятих на об’єктах КІ (в оборонній сфері, сфері забезпечення життєдіяльності населення тощо), яким відповідно до законодавства встановлюється скорочена тривалість РЧ, та у період дії ВС </a:t>
                      </a:r>
                      <a:r>
                        <a:rPr lang="uk-UA" sz="2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 може перевищувати 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0 годин/тиждень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19768171"/>
                  </a:ext>
                </a:extLst>
              </a:tr>
              <a:tr h="161064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Встановлення 5-ти або 6-ти денного робочого тижня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3 ст. 6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встановлюється роботодавцем за рішенням військового командування разом із ВА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у разі їх утворення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встановлюється роботодавцем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, рішення військового командування разом із ВА (у разі їх утворення) – не потрібно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0318883"/>
                  </a:ext>
                </a:extLst>
              </a:tr>
              <a:tr h="161064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ормальна тривалість РЧ працівників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1 ст. 3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 60 годин/тиждень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може бути збільшена 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 60 годин/тиждень для працівників, зайнятих на об’єктах критичної інфраструктури (в оборонній сфері, сфері забезпечення життєдіяльності населення тощо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21138792"/>
                  </a:ext>
                </a:extLst>
              </a:tr>
            </a:tbl>
          </a:graphicData>
        </a:graphic>
      </p:graphicFrame>
      <p:pic>
        <p:nvPicPr>
          <p:cNvPr id="7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270623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1508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ановлення та облік часу роботи і відпочинку</a:t>
            </a:r>
          </a:p>
        </p:txBody>
      </p:sp>
      <p:graphicFrame>
        <p:nvGraphicFramePr>
          <p:cNvPr id="5" name="Таблиця 5">
            <a:extLst>
              <a:ext uri="{FF2B5EF4-FFF2-40B4-BE49-F238E27FC236}">
                <a16:creationId xmlns:a16="http://schemas.microsoft.com/office/drawing/2014/main" id="{29E7A9A7-A32F-A003-6D6B-4D603FEE3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912482"/>
              </p:ext>
            </p:extLst>
          </p:nvPr>
        </p:nvGraphicFramePr>
        <p:xfrm>
          <a:off x="1536192" y="4056611"/>
          <a:ext cx="21195792" cy="81090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45412">
                  <a:extLst>
                    <a:ext uri="{9D8B030D-6E8A-4147-A177-3AD203B41FA5}">
                      <a16:colId xmlns:a16="http://schemas.microsoft.com/office/drawing/2014/main" val="981503571"/>
                    </a:ext>
                  </a:extLst>
                </a:gridCol>
                <a:gridCol w="3899173">
                  <a:extLst>
                    <a:ext uri="{9D8B030D-6E8A-4147-A177-3AD203B41FA5}">
                      <a16:colId xmlns:a16="http://schemas.microsoft.com/office/drawing/2014/main" val="1277557678"/>
                    </a:ext>
                  </a:extLst>
                </a:gridCol>
                <a:gridCol w="11251207">
                  <a:extLst>
                    <a:ext uri="{9D8B030D-6E8A-4147-A177-3AD203B41FA5}">
                      <a16:colId xmlns:a16="http://schemas.microsoft.com/office/drawing/2014/main" val="2742474546"/>
                    </a:ext>
                  </a:extLst>
                </a:gridCol>
              </a:tblGrid>
              <a:tr h="638443">
                <a:tc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2800" b="0" dirty="0">
                          <a:solidFill>
                            <a:schemeClr val="tx1"/>
                          </a:solidFill>
                        </a:rPr>
                        <a:t>до 19.07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2800" b="1" dirty="0">
                          <a:solidFill>
                            <a:schemeClr val="tx1"/>
                          </a:solidFill>
                        </a:rPr>
                        <a:t>після 19.07.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6375405"/>
                  </a:ext>
                </a:extLst>
              </a:tr>
              <a:tr h="203579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орядок обчислення тривалості щорічної та додаткової відпустки працівникам, які мають дітей або повнолітню дитину - особу з інвалідністю з дитинства підгрупи А I групи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6 ст. 6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іяв загальний порядок обчислення тривалості відпусток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враховуються святкові і неробочі дні</a:t>
                      </a:r>
                      <a:endParaRPr lang="uk-UA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57567840"/>
                  </a:ext>
                </a:extLst>
              </a:tr>
              <a:tr h="160652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орядок компенсації роботи у вихідні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6 ст. 6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ст. 72 КЗпП не застосовувалася у період ВС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ію ст. 72 КЗпП відновлено 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 робота у вихідні дні компенсується згідно ст. 107 КЗпП у подвійному розмірі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19768171"/>
                  </a:ext>
                </a:extLst>
              </a:tr>
              <a:tr h="16454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Оплата праці у разі встановлення нормальної тривалості РЧ понад норму, встановлену законодавством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7 ст. 6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 було врегульовано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оплата праці здійснюється у розмірі, збільшеному </a:t>
                      </a: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ропорційно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до збільшення норми праці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0318883"/>
                  </a:ext>
                </a:extLst>
              </a:tr>
              <a:tr h="213713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Тривалість РЧ неповнолітніх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ч. 8 ст. 6 Закону № 2136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 було врегульовано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орми ч. 1, 2 та 5 цієї статті </a:t>
                      </a: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 застосовуються 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 праці неповнолітніх – тривалість їх РЧ </a:t>
                      </a:r>
                      <a:r>
                        <a:rPr lang="uk-UA" sz="2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 може перевищувати встановлену ст. 51 КЗпП </a:t>
                      </a:r>
                      <a:r>
                        <a:rPr lang="uk-UA" sz="2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uk-UA" sz="2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від 16 до 18 років - 36 годин/тиждень; від 15 до 16 років (учнів віком від 14 до 15 років, які працюють в період канікул) - 24 години/тиждень)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21138792"/>
                  </a:ext>
                </a:extLst>
              </a:tr>
            </a:tbl>
          </a:graphicData>
        </a:graphic>
      </p:graphicFrame>
      <p:pic>
        <p:nvPicPr>
          <p:cNvPr id="7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608763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2862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зв’язку з веденням бойових дій у районах, в яких розташоване підприємство, установа, організація, та існування загрози для життя і здоров’я працівник може розірвати ТД за власною ініціативою у строк, зазначений у його заяві (крім випадків примусового залучення до суспільно корисних робіт в умовах ВС, залучення до виконання робіт на об’єктах КІ) – ч. 1 ст. 4 Закону № 2136 </a:t>
            </a: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ірвання ТД з ініціативи працівника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DB2D6E3-B6F1-8A68-AE8E-9B27899507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4561" y="7510924"/>
            <a:ext cx="19900668" cy="5041294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601831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період дії ВС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пускається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звільнення працівника з ініціативи роботодавця: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період його ТН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період перебування його у відпустці (крім відпустки у зв’язку вагітністю та пологами та відпустки для догляду за дитиною до 3 р.) </a:t>
            </a: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endParaRPr lang="uk-UA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із зазначенням дати звільнення, яка є першим робочим днем, наступним за днем закінчення ТН, зазначеним у документі про ТН, або першим робочим днем після закінчення відпустки (ч. 1 ст. 5 Закону № 2136) 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ч. 4 ст. 40 КЗпП щодо не допущення звільнення працівника з ініціативи роботодавця в період його ТН (крім звільнення за п. 5 ст. 40 КЗпП), а також у період перебування працівника у відпустці – </a:t>
            </a:r>
            <a:r>
              <a:rPr lang="uk-UA" sz="3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застосовується 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ірвання ТД з ініціативи роботодавця 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09874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 19.07.2022 р.: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ці у період дії ВС у районах активних бойових дій можуть самостійно визначати </a:t>
            </a:r>
            <a:r>
              <a:rPr lang="uk-UA" sz="3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рядок організації кадрового діловодства та архівного зберігання кадрових документів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за умови забезпечення ведення достовірного обліку виконуваної працівником роботи та обліку витрат на оплату праці 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ісля 19.07.2022 р.: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ці у районах активних бойових дій можуть самостійно визначати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рядок організації діловодства з питань трудових відносин, оформлення і ведення трудових книжок та архівного зберігання відповідних документів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рім цього, сторони ТД можуть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мовитися про прийнятні для них способи створення, пересилання і зберігання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казів (розпоряджень) роботодавця, повідомлень та інших документів з питань трудових відносин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е діловодство та архівне зберігання (ст. 7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18177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дання працівнику щорічної основної відпустки за рішенням роботодавця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оже бути обмежено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ривалістю 24 КД за поточний робочий рік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якщо тривалість щорічної основної відпустки становить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ільше 24 КД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надання не використаних у період дії ВС днів такої відпустки переноситься на період після його припинення або скасування 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ець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оже відмовити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ацівнику у наданні невикористаних днів щорічної відпустки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разі звільнення працівника у період дії ВС йому виплачується грошова компенсація відповідно до ст. 24 Закону України «Про відпустки»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ання відпусток (ст. 12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02921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72942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ець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оже відмовити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ацівнику у наданні будь-якого виду відпусток (</a:t>
            </a:r>
            <a:r>
              <a:rPr lang="uk-UA" sz="3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рім відпустки у зв’язку вагітністю та пологами та відпустки для догляду за дитиною до 3 р.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, якщо такий працівник залучений до виконання робіт на об’єктах КІ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тягом періоду дії ВС роботодавець на прохання працівника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оже надавати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йому відпустку без збереження ЗП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ез обмеження строку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встановленого ч. 1 ст. 26 Закону України «Про відпустки»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ець за заявою працівника, який виїхав за межі території України або набув статусу ВПО,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 обов’язковому порядку надає 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йому відпустку без збереження ЗП тривалістю, визначеною у заяві, але </a:t>
            </a:r>
            <a:r>
              <a:rPr lang="uk-UA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більше 90 КД</a:t>
            </a:r>
            <a:r>
              <a:rPr lang="uk-UA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без зарахування часу перебування у відпустці до стажу роботи, що дає право на щорічну основну відпустку, передбаченого п. 4 ч. 1ст. 9 Закону України «Про відпустки»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ання відпусток (ст. 12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71986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а про надання відпустки за ч. 4 ст. 12 Закону № 2136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E0A5030-9319-9884-25A6-6D03313BA4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6192" y="4256115"/>
            <a:ext cx="21323808" cy="7963593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724730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аз про надання відпустки за ч. 4 ст. 12 Закону № 2136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F97DFCF-9113-8408-A9BC-CE221D693F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549" y="4139737"/>
            <a:ext cx="20786366" cy="8528859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144558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 у зв’язку із збройною агресією проти України, що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иключає можливість обох сторін трудових відносин виконувати обов’язки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передбачені трудовим договором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оже здійснюватися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 ініціативи однієї із сторін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 строк не більше ніж період дії ВС. (у разі прийняття рішення про скасування призупинення дії ТД до припинення або скасування ВС роботодавець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винен за 10 КД до відновлення дії ТД повідомити працівника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про необхідність стати до роботи)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тягне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 собою припинення трудових відносин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може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ути прихованим покаранням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застосовується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 керівників та заступників керівників державних органів, а також посадових ОМС, які обіймають виборні посади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упинення строку дії ТД (ст. 13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944438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5000" y="3553206"/>
            <a:ext cx="23080408" cy="6135329"/>
          </a:xfrm>
        </p:spPr>
        <p:txBody>
          <a:bodyPr>
            <a:normAutofit fontScale="90000"/>
          </a:bodyPr>
          <a:lstStyle/>
          <a:p>
            <a:pPr algn="just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</a:t>
            </a:r>
            <a:r>
              <a:rPr lang="en-US" sz="5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Communities</a:t>
            </a:r>
            <a:r>
              <a:rPr lang="uk-UA" sz="5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та фінансується Агентством США з міжнародного розвитку (USAID).</a:t>
            </a:r>
            <a:r>
              <a:rPr lang="uk-UA" sz="5300" b="1" dirty="0">
                <a:solidFill>
                  <a:schemeClr val="tx1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"/>
          </p:nvPr>
        </p:nvSpPr>
        <p:spPr>
          <a:xfrm>
            <a:off x="635000" y="11328277"/>
            <a:ext cx="23080408" cy="1888959"/>
          </a:xfrm>
        </p:spPr>
        <p:txBody>
          <a:bodyPr>
            <a:noAutofit/>
          </a:bodyPr>
          <a:lstStyle/>
          <a:p>
            <a:pPr algn="just"/>
            <a:endParaRPr lang="en-US" sz="3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5210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формлюється наказом (розпорядженням) роботодавця,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 якому зазначається: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інформація про причини призупинення, у тому числі про неможливість обох сторін виконувати свої обов’язки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посіб обміну інформацією 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рок призупинення 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ількість, категорії і прізвища, ім’я, по батькові (за наявності), РНОКПП або серія та номер паспорта відповідних працівників 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мови відновлення дії ТД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695468"/>
            <a:ext cx="20786366" cy="1080119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упинення строку дії ТД (ст. 13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16610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743200"/>
            <a:ext cx="20786366" cy="91440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аз про призупинення строку дії ТД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8200CFB-17D1-11F0-E732-BABD72D969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6564" y="3775588"/>
            <a:ext cx="20492534" cy="8493998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285695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разі незгоди працівника (працівників) із наказом (розпорядженням) роботодавця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ацівником або профспілкою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 дорученням працівника (працівників) відповідний наказ (розпорядження) може бути оскаржений до Держпраці, або його ТО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uk-UA" sz="3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ержпраці або його ТО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вивчивши зміст наказу (розпорядження) та підстави для його видання,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 погодженням з ВА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оже внести роботодавцеві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ипис про скасування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ідповідного наказу (розпорядження) або про усунення порушення законодавства про працю іншим шляхом, що є обов’язковим до виконання роботодавцем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тягом 14 КД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з дня отримання припису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ипис Держпраці або його ТО може бути оскаржений роботодавцем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тягом 10 КД у судовому порядку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3330478"/>
            <a:ext cx="20786366" cy="1058642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карження призупинення строку дії ТД (ст. 13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400981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0924797" cy="5078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атус керівника КП визначає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атут підприємства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що базується на положеннях Господарського кодексу України (ст. 65, 78) та інших законодавчих актів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</a:t>
            </a:r>
            <a:r>
              <a:rPr kumimoji="0" lang="ru-RU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еріод дії ВС сільський, селищний, міський голова може призначати осіб на посади та звільняти з посад керівників комунальних підприємств, установ, організацій, що належать до сфери управління відповідного ОМС, у порядку, визначеному </a:t>
            </a:r>
            <a:r>
              <a:rPr kumimoji="0" lang="ru-RU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ч. 5 та 6 ст. 10 Закону № 2259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lang="ru-RU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942706"/>
            <a:ext cx="20786366" cy="997528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призначення керівників КП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382349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490063" cy="8956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 період дії ВС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соби призначаються на посади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ерівників комунальних підприємств, установ, організацій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сільським, селищним, міським головою, головою районної, районної у місті, обласної ради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ез конкурсного відбору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ов’язковість якого передбачена законом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на підставі: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даної заяви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повненої особової картки встановленого зразка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кументів, що підтверджують наявність -  громадянства України, освіти та досвіду роботи згідно з вимогами законодавства, встановленими щодо відповідних посад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3600" b="1" i="0" strike="noStrike" kern="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соба, яка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етендує на зайняття посади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ерівника комунального підприємства, установи, організації, у період дії ВС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подає: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екларацію особи, уповноваженої на виконання функцій держави або місцевого самоврядування, передбачену ЗУ «Про запобігання </a:t>
            </a:r>
            <a:r>
              <a:rPr kumimoji="0" lang="uk-UA" sz="3600" b="1" i="0" strike="noStrike" kern="0" cap="none" spc="0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рупці</a:t>
            </a:r>
            <a:r>
              <a:rPr kumimoji="0" lang="ru-RU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ї»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кумент про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ідтвердження рівня володіння державною мовою відповідно </a:t>
            </a:r>
            <a:r>
              <a:rPr kumimoji="0" lang="ru-RU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 ЗУ «Про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безпечення функціонування української мови як державної»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942706"/>
            <a:ext cx="20786366" cy="997528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призначення керівників КП (ч. 5 та 6 ст. 10 Закону № 2259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528036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3" y="4587025"/>
            <a:ext cx="21490063" cy="6186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соби, призначені у період дії ВС на посади керівників комунальних підприємств, установ, організацій, подають декларацію та документ про підтвердження рівня володіння державною мовою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тягом 3 місяців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 дня припинення чи скасування ВС, у разі якщо такі документи не були подані ними раніше</a:t>
            </a: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ісля припинення чи скасування ВС,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ле не пізніше 6 місяців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з дня його припинення чи скасування,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 посади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ерівників комунальних підприємств, установ, організацій, на які особи призначені відповідно до абз. 1 ч. 5 ст. 10 Закону № 2259,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голошується конкурс</a:t>
            </a: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lang="uk-UA" sz="3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uk-UA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г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аничний строк перебування особи на посаді становить </a:t>
            </a:r>
            <a:r>
              <a:rPr kumimoji="0" lang="uk-UA" sz="3600" b="1" i="0" strike="noStrike" kern="0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2 місяців з дня припинення чи скасування ВС</a:t>
            </a:r>
            <a:endParaRPr kumimoji="0" lang="uk-UA" sz="3600" b="1" i="0" strike="noStrike" kern="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942706"/>
            <a:ext cx="20786366" cy="997528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призначення керівників КП (ч. 7 ст. 10 Закону № 2259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20694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419300" y="6858000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якую за увагу!</a:t>
            </a:r>
            <a:endParaRPr lang="en-US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43622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143000" y="4621057"/>
            <a:ext cx="22535552" cy="883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декс законів про працю України </a:t>
            </a:r>
            <a:r>
              <a:rPr lang="en-GB" sz="4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zakon.rada.gov.ua/laws/show/322-08#Text</a:t>
            </a:r>
            <a:r>
              <a:rPr lang="uk-UA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У від 12.05.2015 р. № 389 «Про правовий режим воєнного стану» </a:t>
            </a:r>
            <a:r>
              <a:rPr lang="en-US" sz="4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zakon.rada.gov.ua/laws/show/389-19#Text</a:t>
            </a:r>
            <a:endParaRPr lang="uk-UA" sz="4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У від 15.03.2022 р. № 2136 «</a:t>
            </a:r>
            <a:r>
              <a:rPr lang="ru-RU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 </a:t>
            </a:r>
            <a:r>
              <a:rPr lang="uk-UA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рганізацію трудових відносин в умовах воєнного </a:t>
            </a:r>
            <a:r>
              <a:rPr lang="ru-RU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ану»</a:t>
            </a:r>
            <a:r>
              <a:rPr lang="en-GB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en-GB" sz="4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zakon.rada.gov.ua/laws/show/2136-20#Text</a:t>
            </a:r>
            <a:r>
              <a:rPr lang="uk-UA" sz="4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У</a:t>
            </a:r>
            <a:r>
              <a:rPr lang="ru-RU" sz="4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uk-UA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ід</a:t>
            </a:r>
            <a:r>
              <a:rPr lang="ru-RU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01.07.2022 р. № 2352 «Про </a:t>
            </a:r>
            <a:r>
              <a:rPr lang="uk-UA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несення змін до деяких законодавчих актів України щодо оптимізації трудових відносин» </a:t>
            </a:r>
            <a:r>
              <a:rPr lang="en-US" sz="4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rId7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zakon.rada.gov.ua/laws/show/2352-20#Text</a:t>
            </a:r>
            <a:r>
              <a:rPr lang="uk-UA" sz="4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Господарський кодекс України </a:t>
            </a: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rId8"/>
              </a:rPr>
              <a:t>https://zakon.rada.gov.ua/laws/show/436-15#Text</a:t>
            </a:r>
            <a:endParaRPr lang="uk-UA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вча база</a:t>
            </a:r>
            <a:endParaRPr lang="en-US" sz="4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4776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6566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994742" y="4621057"/>
            <a:ext cx="20724581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міни у законодавстві про працю, що вступили в дію </a:t>
            </a:r>
            <a:r>
              <a:rPr lang="uk-UA" sz="4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9.07.2022 р.</a:t>
            </a: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та визначають особливості трудових відносин працівників усіх підприємств, установ, організацій, у тому числі – комунальних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рядок призначення керівників комунальних підприємств, установ, організацій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uk-UA" sz="4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питання/відповіді</a:t>
            </a: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3077307"/>
            <a:ext cx="19545399" cy="562708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202307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674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ець </a:t>
            </a:r>
            <a:r>
              <a:rPr lang="uk-UA" sz="4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обов’язаний: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uk-UA" sz="4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інформувати працівників, які працюють за строковим трудовим договором, про вакансії, що відповідають їх кваліфікації та передбачають можливість укладення безстрокового трудового договору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безпечити рівні можливості таких працівників для його укладення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2560320"/>
            <a:ext cx="20786366" cy="1501726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ування працівників про вакансії (ч. 3 ст. 23 КЗпП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10095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8279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ісце роботи (інформація про роботодавця, у т. ч. його місцезнаходження), трудову функцію, яку зобов’язаний виконувати працівник (посада та перелік посадових обов’язків), дату початку виконання роботи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изначене робоче місце, забезпечення необхідними для роботи засобами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ава та обов’язки, умови праці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явність на робочому місці небезпечних і шкідливих виробничих факторів, які ще не усунуто, та можливі наслідки їх впливу на здоров’я, а також про право на пільги і компенсації за роботу в таких умовах відповідно до законодавства і колективного договору - </a:t>
            </a:r>
            <a:r>
              <a:rPr lang="uk-UA" sz="4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ід підпис</a:t>
            </a: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3075708"/>
            <a:ext cx="20786366" cy="1572933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в’язок роботодавця в узгоджений із працівником спосіб поінформувати працівника про: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43261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8279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авила ВТР або умови встановлення режиму роботи, тривалість робочого часу і відпочинку, а також про положення КД (у разі його укладення)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ходження інструктажу з охорони праці, виробничої санітарії, гігієни праці і протипожежної охорони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рганізацію професійного навчання працівників (якщо таке навчання передбачено)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ривалість щорічної відпустки, умови та розмір оплати праці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цедуру та встановлені КЗпП строки попередження про припинення ТД, яких повинні дотримуватися працівник і роботодавець</a:t>
            </a: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3075708"/>
            <a:ext cx="20786366" cy="1572933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в’язок роботодавця в узгоджений із працівником спосіб поінформувати працівника про: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2308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6432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оботодавець у період дії ВС має повідомляти працівника про зміну умов оплати праці, так само як і про зміни істотних умов праці, </a:t>
            </a:r>
            <a:r>
              <a:rPr lang="uk-UA" sz="4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пізніш як до запровадження таких умов</a:t>
            </a:r>
            <a:r>
              <a:rPr lang="uk-UA" sz="4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uk-UA" sz="4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гідно ст. 103 КЗпП про нові або зміну діючих умов оплати праці в бік погіршення роботодавець повинен повідомити працівника не пізніш як за 2 місяці до їх запровадження або зміни</a:t>
            </a:r>
          </a:p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3075709"/>
            <a:ext cx="20786366" cy="1127824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а істотних умов та умов оплати праці (ч. 2 ст. 3 Закону № 2136)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32622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13" name="Google Shape;153;p5"/>
          <p:cNvSpPr txBox="1"/>
          <p:nvPr/>
        </p:nvSpPr>
        <p:spPr>
          <a:xfrm>
            <a:off x="1536192" y="4648641"/>
            <a:ext cx="21195792" cy="1508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85800" marR="0" lvl="0" indent="-68580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uk-UA" sz="4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endParaRPr lang="uk-UA" sz="4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1536193" y="3075709"/>
            <a:ext cx="20786366" cy="1127824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аз про зміну істотних умов праці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B45A91C-2D58-0F63-3A49-8AF16DD2AD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8799" y="4422371"/>
            <a:ext cx="20133425" cy="8079971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61DCD8D1-7763-2096-9859-042C527A66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441" y="214512"/>
            <a:ext cx="6348553" cy="317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15294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0FB350B-5BB0-4149-AACA-FF592CEEF01C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303901ef-6a22-4e55-9c80-e90043720daf"/>
    <ds:schemaRef ds:uri="d41abd27-83e6-4a63-9017-5368a0c1b47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1abd27-83e6-4a63-9017-5368a0c1b478"/>
    <ds:schemaRef ds:uri="303901ef-6a22-4e55-9c80-e90043720d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09</TotalTime>
  <Words>1868</Words>
  <Application>Microsoft Office PowerPoint</Application>
  <PresentationFormat>Произвольный</PresentationFormat>
  <Paragraphs>164</Paragraphs>
  <Slides>2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8" baseType="lpstr">
      <vt:lpstr>Arial</vt:lpstr>
      <vt:lpstr>Arial Black</vt:lpstr>
      <vt:lpstr>Calibri</vt:lpstr>
      <vt:lpstr>Calibri Light</vt:lpstr>
      <vt:lpstr>Helvetica Neue</vt:lpstr>
      <vt:lpstr>Helvetica Neue Light</vt:lpstr>
      <vt:lpstr>Helvetica Neue Medium</vt:lpstr>
      <vt:lpstr>Times New Roman</vt:lpstr>
      <vt:lpstr>Wingdings</vt:lpstr>
      <vt:lpstr>White</vt:lpstr>
      <vt:lpstr>Office Theme</vt:lpstr>
      <vt:lpstr>think-cell Slide</vt:lpstr>
      <vt:lpstr> </vt:lpstr>
      <vt:lpstr>         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     Законодавча база</vt:lpstr>
      <vt:lpstr>     </vt:lpstr>
      <vt:lpstr>         Інформування працівників про вакансії (ч. 3 ст. 23 КЗпП)</vt:lpstr>
      <vt:lpstr>           Обов’язок роботодавця в узгоджений із працівником спосіб поінформувати працівника про:</vt:lpstr>
      <vt:lpstr>           Обов’язок роботодавця в узгоджений із працівником спосіб поінформувати працівника про:</vt:lpstr>
      <vt:lpstr>           Зміна істотних умов та умов оплати праці (ч. 2 ст. 3 Закону № 2136)</vt:lpstr>
      <vt:lpstr>           Наказ про зміну істотних умов праці</vt:lpstr>
      <vt:lpstr>           Встановлення та облік часу роботи і відпочинку</vt:lpstr>
      <vt:lpstr>           Встановлення та облік часу роботи і відпочинку</vt:lpstr>
      <vt:lpstr>           Розірвання ТД з ініціативи працівника </vt:lpstr>
      <vt:lpstr>           Розірвання ТД з ініціативи роботодавця </vt:lpstr>
      <vt:lpstr>           Кадрове діловодство та архівне зберігання (ст. 7 Закону № 2136)</vt:lpstr>
      <vt:lpstr>           Надання відпусток (ст. 12 Закону № 2136)</vt:lpstr>
      <vt:lpstr>           Надання відпусток (ст. 12 Закону № 2136)</vt:lpstr>
      <vt:lpstr>           Заява про надання відпустки за ч. 4 ст. 12 Закону № 2136</vt:lpstr>
      <vt:lpstr>           Наказ про надання відпустки за ч. 4 ст. 12 Закону № 2136</vt:lpstr>
      <vt:lpstr>           Призупинення строку дії ТД (ст. 13 Закону № 2136)</vt:lpstr>
      <vt:lpstr>           Призупинення строку дії ТД (ст. 13 Закону № 2136)</vt:lpstr>
      <vt:lpstr>             Наказ про призупинення строку дії ТД</vt:lpstr>
      <vt:lpstr>             Оскарження призупинення строку дії ТД (ст. 13 Закону № 2136)</vt:lpstr>
      <vt:lpstr>             Порядок призначення керівників КП</vt:lpstr>
      <vt:lpstr>             Порядок призначення керівників КП (ч. 5 та 6 ст. 10 Закону № 2259)</vt:lpstr>
      <vt:lpstr>             Порядок призначення керівників КП (ч. 7 ст. 10 Закону № 2259)</vt:lpstr>
      <vt:lpstr>     Дякую за увагу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ія  Zero Waste Event</dc:title>
  <dc:creator>Oleksandr Muratov</dc:creator>
  <cp:lastModifiedBy>userMB</cp:lastModifiedBy>
  <cp:revision>586</cp:revision>
  <dcterms:modified xsi:type="dcterms:W3CDTF">2022-09-19T09:5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